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  <p:sldMasterId id="2147483717" r:id="rId2"/>
    <p:sldMasterId id="2147483743" r:id="rId3"/>
  </p:sldMasterIdLst>
  <p:notesMasterIdLst>
    <p:notesMasterId r:id="rId6"/>
  </p:notesMasterIdLst>
  <p:handoutMasterIdLst>
    <p:handoutMasterId r:id="rId7"/>
  </p:handoutMasterIdLst>
  <p:sldIdLst>
    <p:sldId id="256" r:id="rId4"/>
    <p:sldId id="258" r:id="rId5"/>
  </p:sldIdLst>
  <p:sldSz cx="12192000" cy="6858000"/>
  <p:notesSz cx="6858000" cy="9144000"/>
  <p:defaultTextStyle>
    <a:defPPr>
      <a:defRPr lang="en-US"/>
    </a:defPPr>
    <a:lvl1pPr marL="0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71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43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16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285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356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429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500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572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5885"/>
    <a:srgbClr val="417C7B"/>
    <a:srgbClr val="5D426B"/>
    <a:srgbClr val="760102"/>
    <a:srgbClr val="404040"/>
    <a:srgbClr val="EAEAEA"/>
    <a:srgbClr val="2C4063"/>
    <a:srgbClr val="870101"/>
    <a:srgbClr val="3159A0"/>
    <a:srgbClr val="3F6F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D71C274-0B24-418E-869E-A12FB6E0250F}" v="21" dt="2023-08-22T06:42:22.53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6" autoAdjust="0"/>
    <p:restoredTop sz="96286" autoAdjust="0"/>
  </p:normalViewPr>
  <p:slideViewPr>
    <p:cSldViewPr snapToGrid="0" snapToObjects="1">
      <p:cViewPr>
        <p:scale>
          <a:sx n="75" d="100"/>
          <a:sy n="75" d="100"/>
        </p:scale>
        <p:origin x="468" y="31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100" d="100"/>
          <a:sy n="100" d="100"/>
        </p:scale>
        <p:origin x="-2016" y="156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Master" Target="slideMasters/slideMaster3.xml"/><Relationship Id="rId7" Type="http://schemas.openxmlformats.org/officeDocument/2006/relationships/handoutMaster" Target="handoutMasters/handoutMaster1.xml"/><Relationship Id="rId12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trick Jacolenne" userId="ede5065a-b54a-4371-9885-10fbd561b262" providerId="ADAL" clId="{BD71C274-0B24-418E-869E-A12FB6E0250F}"/>
    <pc:docChg chg="modSld">
      <pc:chgData name="Patrick Jacolenne" userId="ede5065a-b54a-4371-9885-10fbd561b262" providerId="ADAL" clId="{BD71C274-0B24-418E-869E-A12FB6E0250F}" dt="2023-08-22T06:42:27.155" v="25" actId="20577"/>
      <pc:docMkLst>
        <pc:docMk/>
      </pc:docMkLst>
      <pc:sldChg chg="modSp mod">
        <pc:chgData name="Patrick Jacolenne" userId="ede5065a-b54a-4371-9885-10fbd561b262" providerId="ADAL" clId="{BD71C274-0B24-418E-869E-A12FB6E0250F}" dt="2023-08-22T06:42:27.155" v="25" actId="20577"/>
        <pc:sldMkLst>
          <pc:docMk/>
          <pc:sldMk cId="99373898" sldId="256"/>
        </pc:sldMkLst>
        <pc:spChg chg="mod">
          <ac:chgData name="Patrick Jacolenne" userId="ede5065a-b54a-4371-9885-10fbd561b262" providerId="ADAL" clId="{BD71C274-0B24-418E-869E-A12FB6E0250F}" dt="2023-08-22T06:42:22.535" v="21" actId="20577"/>
          <ac:spMkLst>
            <pc:docMk/>
            <pc:sldMk cId="99373898" sldId="256"/>
            <ac:spMk id="14" creationId="{55C5B7E0-5759-87DE-4168-B7031A75F755}"/>
          </ac:spMkLst>
        </pc:spChg>
        <pc:spChg chg="mod">
          <ac:chgData name="Patrick Jacolenne" userId="ede5065a-b54a-4371-9885-10fbd561b262" providerId="ADAL" clId="{BD71C274-0B24-418E-869E-A12FB6E0250F}" dt="2023-08-22T06:42:27.155" v="25" actId="20577"/>
          <ac:spMkLst>
            <pc:docMk/>
            <pc:sldMk cId="99373898" sldId="256"/>
            <ac:spMk id="16" creationId="{AEDC45BB-E363-21AD-DC7E-D1BEBC889CC4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16E113-E953-8C4D-999E-7707DCE412EF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D5F8D2-C06B-F142-958F-DB6F983CFB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36818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6152A0-843A-8846-BF23-ABE70335AF7C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699D63-6D8C-4943-AD1E-44B6A6B326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38441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71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43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216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285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356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429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500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572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4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4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F19DE8-5450-6CD1-5952-EA95221C6C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5DDA93D-11F0-A67D-7FC1-EFC83108C2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D71516-2FBB-0E28-F104-E730D6334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569F4E-218B-A2F9-D5A2-08862017D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770D22-232B-9CAF-024E-FA3CA75E44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872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D4E52-5F46-6608-2268-E6FF051C94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7772D7-7812-66EB-1E23-EF9804536D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E98D4A-AA98-8C4A-733F-6AC08CDD56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C3B591-34C0-B09B-9222-4A063E4FAF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A03F1F-212B-1B16-F692-11E3FB975E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76220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B5F486E-DB19-F76D-5226-7F6A21BF94C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A9CB29-60E5-F77B-5C00-CBCBB558FD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91084C-D460-BAB9-1362-96E3A67FD3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0433A5-68A0-F52F-DE69-AAB1697C1F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77C1CA-80B9-4800-EB63-77C3E43C29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31232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ilent 16:9 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662F66-A4D2-472E-AB03-9F3EE519E8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1153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B662F66-A4D2-472E-AB03-9F3EE519E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 userDrawn="1"/>
        </p:nvSpPr>
        <p:spPr>
          <a:xfrm>
            <a:off x="5483504" y="-1"/>
            <a:ext cx="292388" cy="687294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-1" y="-1"/>
            <a:ext cx="5483505" cy="6872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5775892" y="-1"/>
            <a:ext cx="626402" cy="6872941"/>
          </a:xfrm>
          <a:prstGeom prst="rect">
            <a:avLst/>
          </a:prstGeom>
          <a:solidFill>
            <a:srgbClr val="0042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402294" y="-2"/>
            <a:ext cx="3661784" cy="6874984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76104" y="329302"/>
            <a:ext cx="4715611" cy="2066357"/>
          </a:xfrm>
        </p:spPr>
        <p:txBody>
          <a:bodyPr vert="horz" lIns="0" tIns="0" rIns="0" bIns="0" anchor="b" anchorCtr="0">
            <a:normAutofit/>
          </a:bodyPr>
          <a:lstStyle>
            <a:lvl1pPr algn="l" rtl="0">
              <a:defRPr sz="2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white">
          <a:xfrm>
            <a:off x="476104" y="4115770"/>
            <a:ext cx="4715611" cy="1137771"/>
          </a:xfrm>
        </p:spPr>
        <p:txBody>
          <a:bodyPr lIns="0" tIns="0" rIns="0" bIns="0" anchor="t" anchorCtr="0">
            <a:normAutofit/>
          </a:bodyPr>
          <a:lstStyle>
            <a:lvl1pPr marL="0" indent="0" algn="l" rtl="0">
              <a:spcBef>
                <a:spcPts val="300"/>
              </a:spcBef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295365"/>
            <a:ext cx="2560320" cy="457200"/>
          </a:xfrm>
        </p:spPr>
        <p:txBody>
          <a:bodyPr anchor="b"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6250" y="2612108"/>
            <a:ext cx="4715487" cy="811212"/>
          </a:xfrm>
        </p:spPr>
        <p:txBody>
          <a:bodyPr/>
          <a:lstStyle>
            <a:lvl1pPr rtl="0">
              <a:lnSpc>
                <a:spcPct val="90000"/>
              </a:lnSpc>
              <a:spcBef>
                <a:spcPts val="800"/>
              </a:spcBef>
              <a:defRPr baseline="0">
                <a:solidFill>
                  <a:schemeClr val="bg2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0" indent="0">
              <a:buNone/>
              <a:defRPr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0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10064080" y="-1"/>
            <a:ext cx="2136888" cy="6872941"/>
            <a:chOff x="10064080" y="-1"/>
            <a:chExt cx="2136888" cy="6872941"/>
          </a:xfrm>
        </p:grpSpPr>
        <p:sp>
          <p:nvSpPr>
            <p:cNvPr id="9" name="Rectangle 8"/>
            <p:cNvSpPr/>
            <p:nvPr userDrawn="1"/>
          </p:nvSpPr>
          <p:spPr>
            <a:xfrm>
              <a:off x="10064080" y="-1"/>
              <a:ext cx="2127920" cy="68729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dirty="0">
                <a:latin typeface="Arial" panose="020B0604020202020204" pitchFamily="34" charset="0"/>
              </a:endParaRPr>
            </a:p>
          </p:txBody>
        </p: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67544" y="283"/>
              <a:ext cx="2133424" cy="68574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622038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05AD731-36DA-4C9A-BA64-24DBA6F734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2360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05AD731-36DA-4C9A-BA64-24DBA6F734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/>
          <p:cNvSpPr/>
          <p:nvPr userDrawn="1"/>
        </p:nvSpPr>
        <p:spPr>
          <a:xfrm>
            <a:off x="-1" y="-1"/>
            <a:ext cx="7918825" cy="6872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918824" y="-1"/>
            <a:ext cx="621169" cy="687294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8539992" y="-1"/>
            <a:ext cx="1524087" cy="687294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76103" y="667267"/>
            <a:ext cx="7143939" cy="1728392"/>
          </a:xfrm>
        </p:spPr>
        <p:txBody>
          <a:bodyPr vert="horz" lIns="0" tIns="0" rIns="0" bIns="0" anchor="b" anchorCtr="0">
            <a:normAutofit/>
          </a:bodyPr>
          <a:lstStyle>
            <a:lvl1pPr algn="l" rtl="0">
              <a:defRPr sz="2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476103" y="4115770"/>
            <a:ext cx="7143939" cy="1137771"/>
          </a:xfrm>
        </p:spPr>
        <p:txBody>
          <a:bodyPr lIns="0" tIns="0" rIns="0" bIns="0" anchor="t" anchorCtr="0">
            <a:normAutofit/>
          </a:bodyPr>
          <a:lstStyle>
            <a:lvl1pPr marL="0" indent="0" algn="l" rtl="0">
              <a:spcBef>
                <a:spcPts val="300"/>
              </a:spcBef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49377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476249" y="2612108"/>
            <a:ext cx="7143751" cy="811212"/>
          </a:xfrm>
        </p:spPr>
        <p:txBody>
          <a:bodyPr/>
          <a:lstStyle>
            <a:lvl1pPr rtl="0">
              <a:spcBef>
                <a:spcPts val="800"/>
              </a:spcBef>
              <a:defRPr>
                <a:solidFill>
                  <a:schemeClr val="bg2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0" indent="0">
              <a:buNone/>
              <a:defRPr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10064080" y="-1"/>
            <a:ext cx="2136888" cy="6872941"/>
            <a:chOff x="10064080" y="-1"/>
            <a:chExt cx="2136888" cy="6872941"/>
          </a:xfrm>
        </p:grpSpPr>
        <p:sp>
          <p:nvSpPr>
            <p:cNvPr id="13" name="Rectangle 12"/>
            <p:cNvSpPr/>
            <p:nvPr userDrawn="1"/>
          </p:nvSpPr>
          <p:spPr>
            <a:xfrm>
              <a:off x="10064080" y="-1"/>
              <a:ext cx="2127920" cy="68729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dirty="0">
                <a:latin typeface="Arial" panose="020B0604020202020204" pitchFamily="34" charset="0"/>
              </a:endParaRPr>
            </a:p>
          </p:txBody>
        </p:sp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67544" y="283"/>
              <a:ext cx="2133424" cy="68574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456382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249D25-7F33-499A-8909-D97EA673BD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7429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249D25-7F33-499A-8909-D97EA673BD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926767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919" y="1289304"/>
            <a:ext cx="11198597" cy="4672584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marL="182563" indent="-182563" rtl="0">
              <a:defRPr>
                <a:latin typeface="Arial" panose="020B0604020202020204" pitchFamily="34" charset="0"/>
              </a:defRPr>
            </a:lvl2pPr>
            <a:lvl3pPr marL="457200" indent="-209550" rtl="0">
              <a:defRPr>
                <a:latin typeface="Arial" panose="020B0604020202020204" pitchFamily="34" charset="0"/>
              </a:defRPr>
            </a:lvl3pPr>
            <a:lvl4pPr marL="630238" indent="-168275" rtl="0">
              <a:defRPr>
                <a:latin typeface="Arial" panose="020B0604020202020204" pitchFamily="34" charset="0"/>
              </a:defRPr>
            </a:lvl4pPr>
            <a:lvl5pPr marL="854075" indent="-182563" rtl="0"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59612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Content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EB7E4BE-1077-4F8B-8A0C-464C4F4A10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0520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EB7E4BE-1077-4F8B-8A0C-464C4F4A10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920" y="1289304"/>
            <a:ext cx="11198597" cy="4672584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marL="182880" indent="-182880" rtl="0">
              <a:defRPr>
                <a:latin typeface="Arial" panose="020B0604020202020204" pitchFamily="34" charset="0"/>
              </a:defRPr>
            </a:lvl2pPr>
            <a:lvl3pPr marL="457200" indent="-209550" rtl="0">
              <a:defRPr>
                <a:latin typeface="Arial" panose="020B0604020202020204" pitchFamily="34" charset="0"/>
              </a:defRPr>
            </a:lvl3pPr>
            <a:lvl4pPr marL="627063" indent="-166688" rtl="0">
              <a:defRPr>
                <a:latin typeface="Arial" panose="020B0604020202020204" pitchFamily="34" charset="0"/>
              </a:defRPr>
            </a:lvl4pPr>
            <a:lvl5pPr marL="857250" indent="-182563" rtl="0"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59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33133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0" indent="0">
              <a:buNone/>
              <a:defRPr>
                <a:solidFill>
                  <a:schemeClr val="accent1"/>
                </a:solidFill>
                <a:latin typeface="Roboto" pitchFamily="2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5760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EB8496-D55C-46BE-9B85-C9C1D5DC6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653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EB8496-D55C-46BE-9B85-C9C1D5DC6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923544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5184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Title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F86814A-275F-43D3-A7B9-02C9437DC3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0050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F86814A-275F-43D3-A7B9-02C9437DC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59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22247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rtl="0">
              <a:defRPr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  <a:p>
            <a:pPr lvl="1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5153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E8BB4E7-2998-4187-B675-6E0E0873E5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3392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E8BB4E7-2998-4187-B675-6E0E0873E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85861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5183C2C-F97C-4C99-A3CE-A4022D1A49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9165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5183C2C-F97C-4C99-A3CE-A4022D1A49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/>
        </p:nvSpPr>
        <p:spPr>
          <a:xfrm>
            <a:off x="3658171" y="2752035"/>
            <a:ext cx="304797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862820" y="2752035"/>
            <a:ext cx="7024380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-2" y="2752035"/>
            <a:ext cx="3663924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4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9" name="Rectangle 18"/>
          <p:cNvSpPr/>
          <p:nvPr/>
        </p:nvSpPr>
        <p:spPr>
          <a:xfrm>
            <a:off x="11887199" y="2752035"/>
            <a:ext cx="304799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962969" y="2752035"/>
            <a:ext cx="899851" cy="3733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0" name="AutoShape 3"/>
          <p:cNvSpPr>
            <a:spLocks noChangeAspect="1" noChangeArrowheads="1" noTextEdit="1"/>
          </p:cNvSpPr>
          <p:nvPr/>
        </p:nvSpPr>
        <p:spPr bwMode="auto">
          <a:xfrm>
            <a:off x="7498971" y="532271"/>
            <a:ext cx="2171700" cy="909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11887199" y="2752035"/>
            <a:ext cx="304799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2"/>
            <a:ext cx="12304527" cy="374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5032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BF1A84-66D0-9E39-E935-E155B0ADD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DFA7F3-75CE-6603-9DF0-682664F541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0FBE14-5022-2C46-0AC1-61A23B9828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FD42AC-9129-884B-0361-69AA5768B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975221-5335-D866-87FC-E268F5D66A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3431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8C9CFF8-B535-4E4A-8271-8756C857E8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3436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8C9CFF8-B535-4E4A-8271-8756C857E8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/>
        </p:nvSpPr>
        <p:spPr>
          <a:xfrm>
            <a:off x="3658171" y="2752035"/>
            <a:ext cx="304797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862819" y="2752035"/>
            <a:ext cx="7024379" cy="37334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1" name="Rectangle 20"/>
          <p:cNvSpPr/>
          <p:nvPr/>
        </p:nvSpPr>
        <p:spPr>
          <a:xfrm>
            <a:off x="-2" y="2752035"/>
            <a:ext cx="3663924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1887199" y="2752035"/>
            <a:ext cx="304799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962969" y="2752035"/>
            <a:ext cx="899851" cy="3733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3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3"/>
            <a:ext cx="12190476" cy="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6729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 2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B197A7C-4552-47A7-817E-BCDF278AB1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6126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B197A7C-4552-47A7-817E-BCDF278AB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-1" y="2752035"/>
            <a:ext cx="3663924" cy="37334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3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862819" y="2752035"/>
            <a:ext cx="7024379" cy="37334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1887199" y="2752035"/>
            <a:ext cx="304799" cy="3733460"/>
          </a:xfrm>
          <a:prstGeom prst="rect">
            <a:avLst/>
          </a:prstGeom>
          <a:solidFill>
            <a:srgbClr val="0085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962969" y="2752035"/>
            <a:ext cx="899851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658171" y="2752035"/>
            <a:ext cx="304797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3"/>
            <a:ext cx="12190476" cy="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8548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8AE77A2-AAB6-4BC0-8A34-B5FCAA2969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8257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8AE77A2-AAB6-4BC0-8A34-B5FCAA2969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/>
        </p:nvSpPr>
        <p:spPr>
          <a:xfrm>
            <a:off x="8540409" y="2752035"/>
            <a:ext cx="603503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0668000" y="2752035"/>
            <a:ext cx="1524000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00347" y="2752035"/>
            <a:ext cx="8240061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4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0" name="Rectangle 19"/>
          <p:cNvSpPr/>
          <p:nvPr/>
        </p:nvSpPr>
        <p:spPr>
          <a:xfrm>
            <a:off x="9143913" y="2752035"/>
            <a:ext cx="1524087" cy="3733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-2" y="2752035"/>
            <a:ext cx="300349" cy="3733460"/>
          </a:xfrm>
          <a:prstGeom prst="rect">
            <a:avLst/>
          </a:prstGeom>
          <a:solidFill>
            <a:srgbClr val="00A9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3"/>
            <a:ext cx="12190476" cy="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1305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 Al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9EDC6F-D2D7-464F-9A3C-8238CDD481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9457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9EDC6F-D2D7-464F-9A3C-8238CDD481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/>
        </p:nvSpPr>
        <p:spPr>
          <a:xfrm>
            <a:off x="8540409" y="2752035"/>
            <a:ext cx="603503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00347" y="2752035"/>
            <a:ext cx="8240061" cy="37334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4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3" name="Rectangle 22"/>
          <p:cNvSpPr/>
          <p:nvPr/>
        </p:nvSpPr>
        <p:spPr>
          <a:xfrm>
            <a:off x="10668000" y="2752035"/>
            <a:ext cx="1524000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9143913" y="2752035"/>
            <a:ext cx="1524087" cy="3733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-2" y="2752035"/>
            <a:ext cx="300349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3"/>
            <a:ext cx="12190476" cy="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7029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2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6862E82-2BA4-4C5C-8A92-DD5BF48823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692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6862E82-2BA4-4C5C-8A92-DD5BF48823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287522"/>
            <a:ext cx="5493389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9861" y="1287522"/>
            <a:ext cx="5491655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926767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38377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ilent 16:9 2-Col Lef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6862E82-2BA4-4C5C-8A92-DD5BF48823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692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6862E82-2BA4-4C5C-8A92-DD5BF48823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287522"/>
            <a:ext cx="5493389" cy="4887306"/>
          </a:xfrm>
        </p:spPr>
        <p:txBody>
          <a:bodyPr>
            <a:noAutofit/>
          </a:bodyPr>
          <a:lstStyle>
            <a:lvl1pPr rtl="0">
              <a:defRPr sz="1400">
                <a:latin typeface="Arial" panose="020B0604020202020204" pitchFamily="34" charset="0"/>
              </a:defRPr>
            </a:lvl1pPr>
            <a:lvl2pPr marL="458788" indent="-225425" rtl="0">
              <a:buFont typeface="System Font Regular"/>
              <a:buChar char="–"/>
              <a:tabLst/>
              <a:defRPr sz="1200">
                <a:latin typeface="Arial" panose="020B0604020202020204" pitchFamily="34" charset="0"/>
              </a:defRPr>
            </a:lvl2pPr>
            <a:lvl3pPr marL="635000" indent="-176213" rtl="0">
              <a:buFont typeface="Arial" panose="020B0604020202020204" pitchFamily="34" charset="0"/>
              <a:buChar char="•"/>
              <a:tabLst/>
              <a:defRPr sz="1200">
                <a:latin typeface="Arial" panose="020B0604020202020204" pitchFamily="34" charset="0"/>
              </a:defRPr>
            </a:lvl3pPr>
            <a:lvl4pPr marL="858838" indent="-166688" rtl="0">
              <a:buFont typeface="System Font Regular"/>
              <a:buChar char="–"/>
              <a:tabLst/>
              <a:defRPr sz="1200">
                <a:latin typeface="Arial" panose="020B0604020202020204" pitchFamily="34" charset="0"/>
              </a:defRPr>
            </a:lvl4pPr>
            <a:lvl5pPr rtl="0">
              <a:defRPr sz="110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926767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9308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2-Col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4BB4876-1A88-4F80-A769-86A0F4A251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7108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4BB4876-1A88-4F80-A769-86A0F4A251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287522"/>
            <a:ext cx="5493389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9861" y="1287522"/>
            <a:ext cx="5491655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33133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0" indent="0">
              <a:buNone/>
              <a:defRPr>
                <a:solidFill>
                  <a:schemeClr val="accent1"/>
                </a:solidFill>
                <a:latin typeface="Roboto" pitchFamily="2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12228858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2-Col +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F76DA3-0AB6-425A-9A4A-DE63CB1CA2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438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F76DA3-0AB6-425A-9A4A-DE63CB1CA2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2920" y="1284188"/>
            <a:ext cx="5495544" cy="357695"/>
          </a:xfrm>
        </p:spPr>
        <p:txBody>
          <a:bodyPr anchor="ctr">
            <a:noAutofit/>
          </a:bodyPr>
          <a:lstStyle>
            <a:lvl1pPr marL="0" indent="0" rtl="0">
              <a:buNone/>
              <a:defRPr sz="2200" b="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9862" y="1284188"/>
            <a:ext cx="5491654" cy="357695"/>
          </a:xfrm>
        </p:spPr>
        <p:txBody>
          <a:bodyPr anchor="ctr">
            <a:noAutofit/>
          </a:bodyPr>
          <a:lstStyle>
            <a:lvl1pPr marL="0" indent="0" rtl="0">
              <a:buNone/>
              <a:defRPr sz="2200" b="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502920" y="1751724"/>
            <a:ext cx="5493389" cy="4423103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4"/>
          </p:nvPr>
        </p:nvSpPr>
        <p:spPr>
          <a:xfrm>
            <a:off x="6209861" y="1751724"/>
            <a:ext cx="5491655" cy="4423103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926767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92355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2-Col Sub +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9B0474-A1EE-4F52-A330-F6CCF229A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641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49B0474-A1EE-4F52-A330-F6CCF229A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2920" y="1284188"/>
            <a:ext cx="5495544" cy="357695"/>
          </a:xfrm>
        </p:spPr>
        <p:txBody>
          <a:bodyPr anchor="ctr">
            <a:noAutofit/>
          </a:bodyPr>
          <a:lstStyle>
            <a:lvl1pPr marL="0" indent="0" rtl="0">
              <a:buNone/>
              <a:defRPr sz="2200" b="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9862" y="1284188"/>
            <a:ext cx="5491654" cy="357695"/>
          </a:xfrm>
        </p:spPr>
        <p:txBody>
          <a:bodyPr anchor="ctr">
            <a:noAutofit/>
          </a:bodyPr>
          <a:lstStyle>
            <a:lvl1pPr marL="0" indent="0" rtl="0">
              <a:buNone/>
              <a:defRPr sz="2200" b="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502920" y="1751724"/>
            <a:ext cx="5493389" cy="4423103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4"/>
          </p:nvPr>
        </p:nvSpPr>
        <p:spPr>
          <a:xfrm>
            <a:off x="6209861" y="1751724"/>
            <a:ext cx="5491655" cy="4423103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58"/>
          <p:cNvSpPr>
            <a:spLocks noGrp="1"/>
          </p:cNvSpPr>
          <p:nvPr>
            <p:ph type="body" sz="quarter" idx="15" hasCustomPrompt="1"/>
          </p:nvPr>
        </p:nvSpPr>
        <p:spPr>
          <a:xfrm>
            <a:off x="503238" y="733133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0" indent="0">
              <a:buNone/>
              <a:defRPr>
                <a:solidFill>
                  <a:schemeClr val="accent1"/>
                </a:solidFill>
                <a:latin typeface="Roboto" pitchFamily="2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35068669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2F4A768-9BB6-4607-9F09-B9FD515F2C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9140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2F4A768-9BB6-4607-9F09-B9FD515F2C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8854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43891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3989507" y="1287522"/>
            <a:ext cx="7712015" cy="4887306"/>
          </a:xfrm>
          <a:solidFill>
            <a:schemeClr val="bg2">
              <a:lumMod val="95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22247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rtl="0">
              <a:defRPr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  <a:p>
            <a:pPr lvl="1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287522"/>
            <a:ext cx="3342005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8910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E6D73F-228F-63D2-5E04-5A1B8BE87B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3C8DC4-423A-CE74-299B-A291E5D521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3F2D40-3EF4-E681-7C60-4BA55ADCC0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64D29-5A06-8FC9-8745-E439EF9AC5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7F8701-F793-35A5-0AF1-9CB3F0028D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5460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5D496C-CE71-4A19-828B-E3D8B76A82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259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5D496C-CE71-4A19-828B-E3D8B76A8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264" y="5241390"/>
            <a:ext cx="11147360" cy="1159410"/>
          </a:xfrm>
        </p:spPr>
        <p:txBody>
          <a:bodyPr/>
          <a:lstStyle>
            <a:lvl1pPr rtl="0">
              <a:defRPr sz="1900">
                <a:latin typeface="Arial" panose="020B0604020202020204" pitchFamily="34" charset="0"/>
              </a:defRPr>
            </a:lvl1pPr>
            <a:lvl2pPr marL="0" indent="0" rtl="0">
              <a:buNone/>
              <a:defRPr sz="1500">
                <a:latin typeface="Arial" panose="020B0604020202020204" pitchFamily="34" charset="0"/>
              </a:defRPr>
            </a:lvl2pPr>
            <a:lvl3pPr marL="384048" indent="-182880">
              <a:defRPr sz="1500">
                <a:latin typeface="+mn-lt"/>
              </a:defRPr>
            </a:lvl3pPr>
            <a:lvl4pPr marL="548640" indent="-182880">
              <a:defRPr sz="1500">
                <a:latin typeface="+mn-lt"/>
              </a:defRPr>
            </a:lvl4pPr>
            <a:lvl5pPr marL="731520" indent="-182880">
              <a:defRPr sz="13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438912" cy="118872"/>
          </a:xfrm>
        </p:spPr>
        <p:txBody>
          <a:bodyPr/>
          <a:lstStyle>
            <a:lvl1pPr rtl="0">
              <a:defRPr sz="800" b="1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02919" y="1322552"/>
            <a:ext cx="11201400" cy="3824542"/>
          </a:xfrm>
          <a:solidFill>
            <a:schemeClr val="bg2">
              <a:lumMod val="95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22247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rtl="0">
              <a:defRPr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  <a:p>
            <a:pPr lvl="1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2205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844D0F-A20A-402C-8A22-E11723AA48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214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844D0F-A20A-402C-8A22-E11723AA48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4" y="1368725"/>
            <a:ext cx="12191936" cy="5114351"/>
          </a:xfrm>
          <a:solidFill>
            <a:schemeClr val="bg2">
              <a:lumMod val="95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43891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22247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rtl="0">
              <a:defRPr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  <a:p>
            <a:pPr lvl="1"/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0988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8CAA08C-BA54-4399-867D-3CBCB5BB63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891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8CAA08C-BA54-4399-867D-3CBCB5BB63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/>
          <p:cNvSpPr/>
          <p:nvPr userDrawn="1"/>
        </p:nvSpPr>
        <p:spPr>
          <a:xfrm>
            <a:off x="7918824" y="-1"/>
            <a:ext cx="621169" cy="687294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-1" y="-1"/>
            <a:ext cx="7918825" cy="6872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000" dirty="0">
              <a:latin typeface="Arial" panose="020B0604020202020204" pitchFamily="34" charset="0"/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10064080" y="-1"/>
            <a:ext cx="2127920" cy="6872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8539992" y="-1"/>
            <a:ext cx="1524087" cy="687294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76103" y="1109600"/>
            <a:ext cx="7143939" cy="3850885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defRPr sz="60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476103" y="5092929"/>
            <a:ext cx="7143939" cy="1137771"/>
          </a:xfrm>
        </p:spPr>
        <p:txBody>
          <a:bodyPr lIns="0" tIns="0" rIns="0" bIns="0" anchor="t" anchorCtr="0">
            <a:normAutofit/>
          </a:bodyPr>
          <a:lstStyle>
            <a:lvl1pPr marL="0" indent="0" algn="l" rtl="0">
              <a:spcBef>
                <a:spcPts val="30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49377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7544" y="283"/>
            <a:ext cx="2133424" cy="6857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2687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ilent 16:9 End 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82582A3-F53A-4359-A8A5-0E2DE02C70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183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82582A3-F53A-4359-A8A5-0E2DE02C70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56097729-5F47-41FD-8C30-7C9F3B4771B4}"/>
              </a:ext>
            </a:extLst>
          </p:cNvPr>
          <p:cNvGrpSpPr/>
          <p:nvPr userDrawn="1"/>
        </p:nvGrpSpPr>
        <p:grpSpPr>
          <a:xfrm>
            <a:off x="1" y="-14941"/>
            <a:ext cx="12191999" cy="6872941"/>
            <a:chOff x="1" y="-14941"/>
            <a:chExt cx="12191999" cy="6872941"/>
          </a:xfrm>
        </p:grpSpPr>
        <p:sp>
          <p:nvSpPr>
            <p:cNvPr id="22" name="Rectangle 21"/>
            <p:cNvSpPr/>
            <p:nvPr userDrawn="1"/>
          </p:nvSpPr>
          <p:spPr>
            <a:xfrm>
              <a:off x="10046744" y="-14941"/>
              <a:ext cx="621169" cy="687294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30" name="Rectangle 29"/>
            <p:cNvSpPr/>
            <p:nvPr userDrawn="1"/>
          </p:nvSpPr>
          <p:spPr>
            <a:xfrm>
              <a:off x="1" y="-14941"/>
              <a:ext cx="10046744" cy="68729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2000" dirty="0">
                <a:latin typeface="Arial" panose="020B0604020202020204" pitchFamily="34" charset="0"/>
              </a:endParaRPr>
            </a:p>
          </p:txBody>
        </p:sp>
        <p:sp>
          <p:nvSpPr>
            <p:cNvPr id="32" name="Rectangle 31"/>
            <p:cNvSpPr/>
            <p:nvPr userDrawn="1"/>
          </p:nvSpPr>
          <p:spPr>
            <a:xfrm>
              <a:off x="10667913" y="-14941"/>
              <a:ext cx="1524087" cy="687294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dirty="0">
                <a:latin typeface="Arial" panose="020B0604020202020204" pitchFamily="34" charset="0"/>
              </a:endParaRPr>
            </a:p>
          </p:txBody>
        </p:sp>
        <p:pic>
          <p:nvPicPr>
            <p:cNvPr id="15" name="Picture 14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E751C32A-B6B1-4A85-B1E9-5F99572131E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79686" y="1798546"/>
              <a:ext cx="6087374" cy="2864967"/>
            </a:xfrm>
            <a:prstGeom prst="rect">
              <a:avLst/>
            </a:prstGeom>
          </p:spPr>
        </p:pic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49377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792222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ilent 16:9 Title Sub Only">
  <p:cSld name="1_Agilent 16:9 Title Sub Only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23"/>
          <p:cNvSpPr txBox="1">
            <a:spLocks noGrp="1"/>
          </p:cNvSpPr>
          <p:nvPr>
            <p:ph type="body" idx="1"/>
          </p:nvPr>
        </p:nvSpPr>
        <p:spPr>
          <a:xfrm>
            <a:off x="503238" y="722247"/>
            <a:ext cx="9817854" cy="39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  <a:defRPr sz="24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92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900"/>
              <a:buChar char="•"/>
              <a:defRPr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lvl="2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3pPr>
            <a:lvl4pPr marL="1828800" lvl="3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" name="Google Shape;182;p23"/>
          <p:cNvSpPr txBox="1">
            <a:spLocks noGrp="1"/>
          </p:cNvSpPr>
          <p:nvPr>
            <p:ph type="title"/>
          </p:nvPr>
        </p:nvSpPr>
        <p:spPr>
          <a:xfrm>
            <a:off x="502920" y="246888"/>
            <a:ext cx="9818128" cy="4846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 sz="2800" b="0" i="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3" name="Google Shape;183;p23"/>
          <p:cNvSpPr txBox="1">
            <a:spLocks noGrp="1"/>
          </p:cNvSpPr>
          <p:nvPr>
            <p:ph type="dt" idx="10"/>
          </p:nvPr>
        </p:nvSpPr>
        <p:spPr>
          <a:xfrm>
            <a:off x="1097280" y="6620256"/>
            <a:ext cx="1060704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16 August 2022</a:t>
            </a:r>
            <a:endParaRPr dirty="0"/>
          </a:p>
        </p:txBody>
      </p:sp>
      <p:sp>
        <p:nvSpPr>
          <p:cNvPr id="184" name="Google Shape;184;p23"/>
          <p:cNvSpPr txBox="1">
            <a:spLocks noGrp="1"/>
          </p:cNvSpPr>
          <p:nvPr>
            <p:ph type="ftr" idx="11"/>
          </p:nvPr>
        </p:nvSpPr>
        <p:spPr>
          <a:xfrm>
            <a:off x="2615184" y="6620256"/>
            <a:ext cx="5303520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Agilent Private - DRAFT - NOT FOR DISTRIBUTION</a:t>
            </a:r>
            <a:endParaRPr dirty="0"/>
          </a:p>
        </p:txBody>
      </p:sp>
      <p:sp>
        <p:nvSpPr>
          <p:cNvPr id="185" name="Google Shape;185;p23"/>
          <p:cNvSpPr txBox="1">
            <a:spLocks noGrp="1"/>
          </p:cNvSpPr>
          <p:nvPr>
            <p:ph type="sldNum" idx="12"/>
          </p:nvPr>
        </p:nvSpPr>
        <p:spPr>
          <a:xfrm>
            <a:off x="502920" y="6620256"/>
            <a:ext cx="420624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897198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ilent 16:9 2-Col Right Only Narrow">
  <p:cSld name="Agilent 16:9 2-Col Right Only Narrow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16"/>
          <p:cNvSpPr txBox="1">
            <a:spLocks noGrp="1"/>
          </p:cNvSpPr>
          <p:nvPr>
            <p:ph type="body" idx="1"/>
          </p:nvPr>
        </p:nvSpPr>
        <p:spPr>
          <a:xfrm>
            <a:off x="7465671" y="1287522"/>
            <a:ext cx="4235845" cy="4887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>
                <a:latin typeface="Arial"/>
                <a:ea typeface="Arial"/>
                <a:cs typeface="Arial"/>
                <a:sym typeface="Arial"/>
              </a:defRPr>
            </a:lvl1pPr>
            <a:lvl2pPr marL="914400" lvl="1" indent="-3492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900"/>
              <a:buChar char="•"/>
              <a:defRPr sz="1900">
                <a:latin typeface="Arial"/>
                <a:ea typeface="Arial"/>
                <a:cs typeface="Arial"/>
                <a:sym typeface="Arial"/>
              </a:defRPr>
            </a:lvl2pPr>
            <a:lvl3pPr marL="1371600" lvl="2" indent="-3365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700"/>
              <a:buChar char="–"/>
              <a:defRPr sz="1700">
                <a:latin typeface="Arial"/>
                <a:ea typeface="Arial"/>
                <a:cs typeface="Arial"/>
                <a:sym typeface="Arial"/>
              </a:defRPr>
            </a:lvl3pPr>
            <a:lvl4pPr marL="1828800" lvl="3" indent="-3365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700"/>
              <a:buChar char="•"/>
              <a:defRPr sz="1700">
                <a:latin typeface="Arial"/>
                <a:ea typeface="Arial"/>
                <a:cs typeface="Arial"/>
                <a:sym typeface="Arial"/>
              </a:defRPr>
            </a:lvl4pPr>
            <a:lvl5pPr marL="2286000" lvl="4" indent="-3238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500"/>
              <a:buChar char="–"/>
              <a:defRPr sz="1500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" name="Google Shape;67;p116"/>
          <p:cNvSpPr txBox="1">
            <a:spLocks noGrp="1"/>
          </p:cNvSpPr>
          <p:nvPr>
            <p:ph type="dt" idx="10"/>
          </p:nvPr>
        </p:nvSpPr>
        <p:spPr>
          <a:xfrm>
            <a:off x="1092982" y="6620256"/>
            <a:ext cx="1055857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16 August 2022</a:t>
            </a:r>
            <a:endParaRPr dirty="0"/>
          </a:p>
        </p:txBody>
      </p:sp>
      <p:sp>
        <p:nvSpPr>
          <p:cNvPr id="68" name="Google Shape;68;p116"/>
          <p:cNvSpPr txBox="1">
            <a:spLocks noGrp="1"/>
          </p:cNvSpPr>
          <p:nvPr>
            <p:ph type="ftr" idx="11"/>
          </p:nvPr>
        </p:nvSpPr>
        <p:spPr>
          <a:xfrm>
            <a:off x="2614298" y="6620256"/>
            <a:ext cx="5303520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Agilent Private - DRAFT - NOT FOR DISTRIBUTION</a:t>
            </a:r>
            <a:endParaRPr dirty="0"/>
          </a:p>
        </p:txBody>
      </p:sp>
      <p:sp>
        <p:nvSpPr>
          <p:cNvPr id="69" name="Google Shape;69;p116"/>
          <p:cNvSpPr txBox="1">
            <a:spLocks noGrp="1"/>
          </p:cNvSpPr>
          <p:nvPr>
            <p:ph type="sldNum" idx="12"/>
          </p:nvPr>
        </p:nvSpPr>
        <p:spPr>
          <a:xfrm>
            <a:off x="502920" y="6620256"/>
            <a:ext cx="434347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70" name="Google Shape;70;p116"/>
          <p:cNvSpPr txBox="1">
            <a:spLocks noGrp="1"/>
          </p:cNvSpPr>
          <p:nvPr>
            <p:ph type="title"/>
          </p:nvPr>
        </p:nvSpPr>
        <p:spPr>
          <a:xfrm>
            <a:off x="502919" y="246887"/>
            <a:ext cx="11198597" cy="9267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 sz="2800" b="0" i="0"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771286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sk Overview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A8606-3BBD-5366-4C8F-52D13648F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491" y="248556"/>
            <a:ext cx="11194268" cy="90549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EEFF31-EE23-C4E4-6FE7-0A4096C2E6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Agilent Private - DRAFT - NOT FOR DISTRIBU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02DC4A-4C49-2C28-1682-5635F793277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dirty="0"/>
              <a:t>16 August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BDA01-0AB7-94F7-D380-95F8EDF702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7" name="Google Shape;75;p94">
            <a:extLst>
              <a:ext uri="{FF2B5EF4-FFF2-40B4-BE49-F238E27FC236}">
                <a16:creationId xmlns:a16="http://schemas.microsoft.com/office/drawing/2014/main" id="{D91FD25D-3EB5-43EB-AC83-6C4432C21EEF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6172200" y="1887794"/>
            <a:ext cx="5486400" cy="20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00" rIns="91425" bIns="45700" anchor="t" anchorCtr="0">
            <a:noAutofit/>
          </a:bodyPr>
          <a:lstStyle>
            <a:lvl1pPr marL="177800" lvl="0" indent="-177800" algn="l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dk1"/>
              </a:buClr>
              <a:buSzPts val="1400"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  <a:latin typeface="+mn-lt"/>
                <a:ea typeface="Verdana"/>
                <a:cs typeface="Verdana"/>
                <a:sym typeface="Verdana"/>
              </a:defRPr>
            </a:lvl1pPr>
            <a:lvl2pPr marL="914400" lvl="1" indent="-3048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20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100"/>
              <a:buNone/>
              <a:defRPr sz="1100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295275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050"/>
              <a:buChar char="•"/>
              <a:defRPr sz="1050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295275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050"/>
              <a:buChar char="–"/>
              <a:defRPr sz="1050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8" name="Google Shape;76;p94">
            <a:extLst>
              <a:ext uri="{FF2B5EF4-FFF2-40B4-BE49-F238E27FC236}">
                <a16:creationId xmlns:a16="http://schemas.microsoft.com/office/drawing/2014/main" id="{506FE822-6433-A54C-ED90-98201E0E3B4A}"/>
              </a:ext>
            </a:extLst>
          </p:cNvPr>
          <p:cNvSpPr txBox="1"/>
          <p:nvPr userDrawn="1"/>
        </p:nvSpPr>
        <p:spPr>
          <a:xfrm>
            <a:off x="396564" y="1496899"/>
            <a:ext cx="134203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+mn-lt"/>
                <a:ea typeface="Verdana"/>
                <a:cs typeface="Verdana"/>
                <a:sym typeface="Verdana"/>
              </a:rPr>
              <a:t>Key Tasks</a:t>
            </a:r>
            <a:endParaRPr dirty="0">
              <a:latin typeface="+mn-lt"/>
            </a:endParaRPr>
          </a:p>
        </p:txBody>
      </p:sp>
      <p:sp>
        <p:nvSpPr>
          <p:cNvPr id="9" name="Google Shape;77;p94">
            <a:extLst>
              <a:ext uri="{FF2B5EF4-FFF2-40B4-BE49-F238E27FC236}">
                <a16:creationId xmlns:a16="http://schemas.microsoft.com/office/drawing/2014/main" id="{61C8F187-EB46-935E-B716-1058F286503B}"/>
              </a:ext>
            </a:extLst>
          </p:cNvPr>
          <p:cNvSpPr txBox="1"/>
          <p:nvPr userDrawn="1"/>
        </p:nvSpPr>
        <p:spPr>
          <a:xfrm>
            <a:off x="6072513" y="1496899"/>
            <a:ext cx="160172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+mn-lt"/>
                <a:ea typeface="Verdana"/>
                <a:cs typeface="Verdana"/>
                <a:sym typeface="Verdana"/>
              </a:rPr>
              <a:t>Key Outputs</a:t>
            </a:r>
            <a:endParaRPr dirty="0">
              <a:latin typeface="+mn-lt"/>
            </a:endParaRPr>
          </a:p>
        </p:txBody>
      </p:sp>
      <p:cxnSp>
        <p:nvCxnSpPr>
          <p:cNvPr id="10" name="Google Shape;78;p94">
            <a:extLst>
              <a:ext uri="{FF2B5EF4-FFF2-40B4-BE49-F238E27FC236}">
                <a16:creationId xmlns:a16="http://schemas.microsoft.com/office/drawing/2014/main" id="{FFD519A1-434B-80EE-FB9F-0D003B3699B8}"/>
              </a:ext>
            </a:extLst>
          </p:cNvPr>
          <p:cNvCxnSpPr/>
          <p:nvPr userDrawn="1"/>
        </p:nvCxnSpPr>
        <p:spPr>
          <a:xfrm>
            <a:off x="496251" y="1846567"/>
            <a:ext cx="539496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1" name="Google Shape;79;p94">
            <a:extLst>
              <a:ext uri="{FF2B5EF4-FFF2-40B4-BE49-F238E27FC236}">
                <a16:creationId xmlns:a16="http://schemas.microsoft.com/office/drawing/2014/main" id="{878203F3-A28F-3128-F846-C7D67E1DEA69}"/>
              </a:ext>
            </a:extLst>
          </p:cNvPr>
          <p:cNvCxnSpPr/>
          <p:nvPr userDrawn="1"/>
        </p:nvCxnSpPr>
        <p:spPr>
          <a:xfrm>
            <a:off x="6172200" y="1846567"/>
            <a:ext cx="539496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" name="Google Shape;80;p94">
            <a:extLst>
              <a:ext uri="{FF2B5EF4-FFF2-40B4-BE49-F238E27FC236}">
                <a16:creationId xmlns:a16="http://schemas.microsoft.com/office/drawing/2014/main" id="{C10ECA2A-C289-8D4A-1AD2-5A9A7F70A4B1}"/>
              </a:ext>
            </a:extLst>
          </p:cNvPr>
          <p:cNvSpPr txBox="1"/>
          <p:nvPr userDrawn="1"/>
        </p:nvSpPr>
        <p:spPr>
          <a:xfrm>
            <a:off x="413148" y="1158345"/>
            <a:ext cx="135966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+mn-lt"/>
                <a:ea typeface="Verdana"/>
                <a:cs typeface="Verdana"/>
                <a:sym typeface="Verdana"/>
              </a:rPr>
              <a:t>Objective:</a:t>
            </a:r>
            <a:endParaRPr dirty="0">
              <a:latin typeface="+mn-lt"/>
            </a:endParaRPr>
          </a:p>
        </p:txBody>
      </p:sp>
      <p:sp>
        <p:nvSpPr>
          <p:cNvPr id="13" name="Google Shape;81;p94">
            <a:extLst>
              <a:ext uri="{FF2B5EF4-FFF2-40B4-BE49-F238E27FC236}">
                <a16:creationId xmlns:a16="http://schemas.microsoft.com/office/drawing/2014/main" id="{8A248022-83EB-5F0D-5E22-2966EB8F1688}"/>
              </a:ext>
            </a:extLst>
          </p:cNvPr>
          <p:cNvSpPr txBox="1">
            <a:spLocks noGrp="1"/>
          </p:cNvSpPr>
          <p:nvPr>
            <p:ph type="body" idx="3"/>
          </p:nvPr>
        </p:nvSpPr>
        <p:spPr>
          <a:xfrm>
            <a:off x="1502037" y="1208259"/>
            <a:ext cx="10190722" cy="271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00" rIns="91440" bIns="45700" anchor="t" anchorCtr="0">
            <a:noAutofit/>
          </a:bodyPr>
          <a:lstStyle>
            <a:lvl1pPr marL="7938" lv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tabLst/>
              <a:defRPr sz="1400"/>
            </a:lvl1pPr>
            <a:lvl2pPr marL="914400" lvl="1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3pPr>
            <a:lvl4pPr marL="1828800" lvl="3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15" name="Google Shape;83;p94">
            <a:extLst>
              <a:ext uri="{FF2B5EF4-FFF2-40B4-BE49-F238E27FC236}">
                <a16:creationId xmlns:a16="http://schemas.microsoft.com/office/drawing/2014/main" id="{E923A8FB-78FE-76F2-6D4F-027C871BF141}"/>
              </a:ext>
            </a:extLst>
          </p:cNvPr>
          <p:cNvSpPr txBox="1"/>
          <p:nvPr userDrawn="1"/>
        </p:nvSpPr>
        <p:spPr>
          <a:xfrm>
            <a:off x="6064046" y="4000394"/>
            <a:ext cx="33970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+mn-lt"/>
                <a:ea typeface="Verdana"/>
                <a:cs typeface="Verdana"/>
                <a:sym typeface="Verdana"/>
              </a:rPr>
              <a:t>Risks (R) / Decisions (D) Needed</a:t>
            </a:r>
            <a:endParaRPr dirty="0">
              <a:latin typeface="+mn-lt"/>
            </a:endParaRPr>
          </a:p>
        </p:txBody>
      </p:sp>
      <p:cxnSp>
        <p:nvCxnSpPr>
          <p:cNvPr id="16" name="Google Shape;84;p94">
            <a:extLst>
              <a:ext uri="{FF2B5EF4-FFF2-40B4-BE49-F238E27FC236}">
                <a16:creationId xmlns:a16="http://schemas.microsoft.com/office/drawing/2014/main" id="{E3E73B54-619A-DDBA-5386-F1D272E155D5}"/>
              </a:ext>
            </a:extLst>
          </p:cNvPr>
          <p:cNvCxnSpPr/>
          <p:nvPr userDrawn="1"/>
        </p:nvCxnSpPr>
        <p:spPr>
          <a:xfrm>
            <a:off x="6172200" y="4350062"/>
            <a:ext cx="539496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6E14BA3-9970-BA27-3C41-46140CEBA7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8491" y="1887794"/>
            <a:ext cx="5486400" cy="4288536"/>
          </a:xfrm>
        </p:spPr>
        <p:txBody>
          <a:bodyPr lIns="91440">
            <a:noAutofit/>
          </a:bodyPr>
          <a:lstStyle>
            <a:lvl1pPr marL="234950" indent="-234950">
              <a:buFont typeface="+mj-lt"/>
              <a:buAutoNum type="arabicPeriod"/>
              <a:tabLst/>
              <a:defRPr sz="1400"/>
            </a:lvl1pPr>
            <a:lvl2pPr marL="407988" indent="-146050">
              <a:tabLst/>
              <a:defRPr sz="1200"/>
            </a:lvl2pPr>
            <a:lvl3pPr marL="688975" indent="-254000">
              <a:tabLst/>
              <a:defRPr sz="1100"/>
            </a:lvl3pPr>
            <a:lvl4pPr marL="860425" indent="-190500">
              <a:tabLst/>
              <a:defRPr sz="1100"/>
            </a:lvl4pPr>
            <a:lvl5pPr marL="1087438" indent="-180975">
              <a:tabLst/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Google Shape;75;p94">
            <a:extLst>
              <a:ext uri="{FF2B5EF4-FFF2-40B4-BE49-F238E27FC236}">
                <a16:creationId xmlns:a16="http://schemas.microsoft.com/office/drawing/2014/main" id="{BE8C2E1B-384D-4F74-2F7F-C0BFA2C02637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6172200" y="4387495"/>
            <a:ext cx="5486400" cy="17922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00" rIns="91425" bIns="45700" anchor="t" anchorCtr="0">
            <a:noAutofit/>
          </a:bodyPr>
          <a:lstStyle>
            <a:lvl1pPr marL="177800" lvl="0" indent="-177800" algn="l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dk1"/>
              </a:buClr>
              <a:buSzPts val="1400"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  <a:latin typeface="+mn-lt"/>
                <a:ea typeface="Verdana"/>
                <a:cs typeface="Verdana"/>
                <a:sym typeface="Verdana"/>
              </a:defRPr>
            </a:lvl1pPr>
            <a:lvl2pPr marL="914400" lvl="1" indent="-3048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20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100"/>
              <a:buNone/>
              <a:defRPr sz="1100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295275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050"/>
              <a:buChar char="•"/>
              <a:defRPr sz="1050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295275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050"/>
              <a:buChar char="–"/>
              <a:defRPr sz="1050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019487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6693" y="1353313"/>
            <a:ext cx="10932160" cy="4755387"/>
          </a:xfr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A1010"/>
              </a:buClr>
              <a:buSzPct val="75000"/>
              <a:buFont typeface="Wingdings" charset="2"/>
              <a:buChar char="§"/>
              <a:defRPr lang="en-US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685783" lvl="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A1010"/>
              </a:buClr>
              <a:buSzPct val="75000"/>
              <a:buFont typeface="Lucida Grande"/>
              <a:buChar char="-"/>
            </a:pPr>
            <a:r>
              <a:rPr lang="en-US" dirty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6A422E-F4A4-1902-F28A-BBE0839772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2026" y="6507941"/>
            <a:ext cx="2045710" cy="2571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0D9563C-E1F3-1DC0-5268-D210B59E899B}"/>
              </a:ext>
            </a:extLst>
          </p:cNvPr>
          <p:cNvSpPr txBox="1"/>
          <p:nvPr userDrawn="1"/>
        </p:nvSpPr>
        <p:spPr>
          <a:xfrm>
            <a:off x="2609913" y="6636528"/>
            <a:ext cx="6095114" cy="16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500" dirty="0"/>
              <a:t>© 2022 DatalogIQ 360 |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22834259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B30B624-9947-E157-412F-3870F6D8DD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2026" y="6507941"/>
            <a:ext cx="2045710" cy="2571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036BD4B-5A4E-149C-5F44-44C9C827EF73}"/>
              </a:ext>
            </a:extLst>
          </p:cNvPr>
          <p:cNvSpPr txBox="1"/>
          <p:nvPr userDrawn="1"/>
        </p:nvSpPr>
        <p:spPr>
          <a:xfrm>
            <a:off x="2609913" y="6636528"/>
            <a:ext cx="6095114" cy="16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500" dirty="0"/>
              <a:t>© 2022 DatalogIQ 360 |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47543756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gradient Blank">
    <p:bg>
      <p:bgPr>
        <a:gradFill>
          <a:gsLst>
            <a:gs pos="100000">
              <a:schemeClr val="tx2">
                <a:lumMod val="94000"/>
                <a:lumOff val="6000"/>
              </a:schemeClr>
            </a:gs>
            <a:gs pos="0">
              <a:srgbClr val="0F0F0F">
                <a:lumMod val="94000"/>
                <a:lumOff val="6000"/>
              </a:srgb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9234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2B608-5707-6EA4-26F1-72CC4FC5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4978DA-AC23-3946-184F-0017DC69CDA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682557-C9E3-A5EB-65FD-F6E8A9E6DA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9C24A0D-65C8-9D16-696B-26FB06AE2A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BFD35B-CD43-991A-234C-B39F915671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181FCE-9D72-7E48-5A77-EE821814C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6457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3521" y="109874"/>
            <a:ext cx="11191950" cy="103965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1E617D7F-ABC2-B54B-B054-76FDCC8184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09670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4328904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490704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805B6D-2EE1-FD1E-038F-5CE440376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89737C-5388-D4AE-8871-473EBFCBAC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002046-D8EF-8A17-7E9D-E90DFD95E1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E52B18-D7BA-585C-4C61-FBD673FBA8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BBC4F1-0439-8AA8-D029-E149BB9C44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6A7567A-047B-68FF-00ED-E730E4C50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1A53ACE-CA51-21C1-DC68-9640904B4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AA246B-5D03-7606-DDCA-8AC8C0BB46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1763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0B2BC-2AEA-7093-70EA-8E497D44CE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469A6C-F24B-40D2-79DB-EAFE562FBE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115B7F-BAE7-763A-30B2-C1C32E744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807326-6C7A-A4E6-8468-2680BA97D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3016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B4379B-5838-2CE6-D7CB-E196874766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4E6492-C8B6-0B0A-9F8D-C75DB71945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074C90-4DF7-8037-9929-5F97F25BE5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4762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6287F1-60CB-10B0-64C1-DC4EFBFE72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4EC2E7-ADCC-B5ED-F2C6-8E81343D4C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F436C1-37C6-7208-0366-2B56AAC839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A7152D-91F6-AE1B-83BB-2264842003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F35685E-A916-9FB2-C9E6-D3AD0A6B3E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EA2D84-E72E-361B-81B9-5A2154EC3C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5317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4D4EE-21C9-49AF-9F71-4A61B28C0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367A66E-6E68-73D3-5294-4D4AE128A84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5A4805-6360-7B87-AD68-5E10618D86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2BFB9D-1F38-A70A-9907-F87FAA991C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AD157C-474B-23AC-B0C4-1B785EF027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DD46BF-CB72-8DA1-B580-1BF185392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5710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tags" Target="../tags/tag1.xml"/><Relationship Id="rId30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66CA43B-6109-BF54-46D0-D771F776A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198AF3-7052-8ED1-E29A-1D61CAF871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569A2B-7608-109A-091E-E57256F90E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4F30CB-73ED-00F3-A0C1-09E56A1698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F9E01F-DDD6-E157-1873-7798029E8A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031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58BDD55-716D-40BF-B7BD-53E264DE0E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852859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16" imgH="416" progId="TCLayout.ActiveDocument.1">
                  <p:embed/>
                </p:oleObj>
              </mc:Choice>
              <mc:Fallback>
                <p:oleObj name="think-cell Slide" r:id="rId29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58BDD55-716D-40BF-B7BD-53E264DE0E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FFBCA17-8DB0-47C4-97FF-0AB061EA3262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2800" b="0" i="0" baseline="0" dirty="0">
              <a:latin typeface="Arial" panose="020B0604020202020204" pitchFamily="34" charset="0"/>
              <a:ea typeface="Roboto Medium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482602"/>
            <a:ext cx="12192000" cy="377952"/>
            <a:chOff x="0" y="6482602"/>
            <a:chExt cx="12192000" cy="377952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6482602"/>
              <a:ext cx="12192000" cy="377952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" y="6487228"/>
              <a:ext cx="12190992" cy="371825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498491" y="248556"/>
            <a:ext cx="11194268" cy="905495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498491" y="1291996"/>
            <a:ext cx="11194268" cy="4668376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3"/>
          </p:nvPr>
        </p:nvSpPr>
        <p:spPr bwMode="white">
          <a:xfrm>
            <a:off x="2614298" y="6620256"/>
            <a:ext cx="5303520" cy="1188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2"/>
          </p:nvPr>
        </p:nvSpPr>
        <p:spPr bwMode="white">
          <a:xfrm>
            <a:off x="1092982" y="6620256"/>
            <a:ext cx="1055857" cy="1188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800" rtl="0" eaLnBrk="1" latinLnBrk="0" hangingPunct="1">
              <a:defRPr lang="en-US" sz="8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 bwMode="white">
          <a:xfrm>
            <a:off x="502920" y="6620256"/>
            <a:ext cx="434347" cy="1188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800" rtl="0" eaLnBrk="1" latinLnBrk="0" hangingPunct="1">
              <a:defRPr lang="en-US" sz="800" b="0" i="0" kern="1200" smtClean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32422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38" r:id="rId21"/>
    <p:sldLayoutId id="2147483739" r:id="rId22"/>
    <p:sldLayoutId id="2147483740" r:id="rId23"/>
    <p:sldLayoutId id="2147483741" r:id="rId24"/>
    <p:sldLayoutId id="2147483742" r:id="rId25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1"/>
          </a:solidFill>
          <a:latin typeface="Arial" panose="020B0604020202020204" pitchFamily="34" charset="0"/>
          <a:ea typeface="Roboto Medium" panose="02000000000000000000" pitchFamily="2" charset="0"/>
          <a:cs typeface="Arial" panose="020B0604020202020204" pitchFamily="34" charset="0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1200"/>
        </a:spcBef>
        <a:buFontTx/>
        <a:buNone/>
        <a:defRPr sz="21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1pPr>
      <a:lvl2pPr marL="173038" indent="-173038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2pPr>
      <a:lvl3pPr marL="457200" indent="-228600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3pPr>
      <a:lvl4pPr marL="627063" indent="-168275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4pPr>
      <a:lvl5pPr marL="857250" indent="-182563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orient="horz" pos="2160">
          <p15:clr>
            <a:srgbClr val="F26B43"/>
          </p15:clr>
        </p15:guide>
        <p15:guide id="14" pos="6720">
          <p15:clr>
            <a:srgbClr val="F26B43"/>
          </p15:clr>
        </p15:guide>
        <p15:guide id="15" orient="horz" pos="912">
          <p15:clr>
            <a:srgbClr val="F26B43"/>
          </p15:clr>
        </p15:guide>
        <p15:guide id="16" orient="horz" pos="192">
          <p15:clr>
            <a:srgbClr val="F26B43"/>
          </p15:clr>
        </p15:guide>
        <p15:guide id="17" orient="horz" pos="3888">
          <p15:clr>
            <a:srgbClr val="F26B43"/>
          </p15:clr>
        </p15:guide>
        <p15:guide id="18" pos="312">
          <p15:clr>
            <a:srgbClr val="F26B43"/>
          </p15:clr>
        </p15:guide>
        <p15:guide id="19" pos="7488">
          <p15:clr>
            <a:srgbClr val="F26B43"/>
          </p15:clr>
        </p15:guide>
        <p15:guide id="20" orient="horz" pos="1008">
          <p15:clr>
            <a:srgbClr val="F26B43"/>
          </p15:clr>
        </p15:guide>
        <p15:guide id="21" orient="horz" pos="4032">
          <p15:clr>
            <a:srgbClr val="F26B43"/>
          </p15:clr>
        </p15:guide>
        <p15:guide id="22" pos="3840">
          <p15:clr>
            <a:srgbClr val="F26B43"/>
          </p15:clr>
        </p15:guide>
        <p15:guide id="23" orient="horz" pos="4272">
          <p15:clr>
            <a:srgbClr val="F26B43"/>
          </p15:clr>
        </p15:guide>
        <p15:guide id="24" pos="681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36693" y="249511"/>
            <a:ext cx="10932160" cy="9907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0" lang="en-US" sz="373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6693" y="1353311"/>
            <a:ext cx="10932160" cy="4754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A1010"/>
              </a:buClr>
              <a:buSzPct val="75000"/>
              <a:buFont typeface="Wingdings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A1010"/>
              </a:buClr>
              <a:buSzPct val="75000"/>
              <a:buFont typeface="Lucida Grande"/>
              <a:buChar char="-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5621020" y="6395731"/>
            <a:ext cx="69088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354" fontAlgn="auto">
              <a:spcBef>
                <a:spcPts val="0"/>
              </a:spcBef>
              <a:spcAft>
                <a:spcPts val="0"/>
              </a:spcAft>
            </a:pPr>
            <a:fld id="{4BC8C7BF-536A-5D4E-8B21-0CE6F1D2E9E6}" type="slidenum">
              <a:rPr lang="en-US" sz="1067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91435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67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5061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7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marR="0" indent="-228594" algn="l" defTabSz="914377" rtl="0" eaLnBrk="1" fontAlgn="auto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US" sz="2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85783" marR="0" indent="-228594" algn="l" defTabSz="914377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>
          <a:srgbClr val="EA1010"/>
        </a:buClr>
        <a:buSzPct val="75000"/>
        <a:buFont typeface="Lucida Grande"/>
        <a:buChar char="-"/>
        <a:tabLst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8" name="Rectangle 37">
            <a:extLst>
              <a:ext uri="{FF2B5EF4-FFF2-40B4-BE49-F238E27FC236}">
                <a16:creationId xmlns:a16="http://schemas.microsoft.com/office/drawing/2014/main" id="{9B7AD9F6-8CE7-4299-8FC6-328F4DCD3F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55C5B7E0-5759-87DE-4168-B7031A75F75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50680" y="2327052"/>
            <a:ext cx="4456270" cy="1456390"/>
          </a:xfrm>
        </p:spPr>
        <p:txBody>
          <a:bodyPr vert="horz" lIns="91440" tIns="45720" rIns="91440" bIns="45720" rtlCol="0" anchor="b">
            <a:noAutofit/>
          </a:bodyPr>
          <a:lstStyle/>
          <a:p>
            <a:pPr algn="ctr" defTabSz="914400"/>
            <a:r>
              <a:rPr lang="en-US" sz="5400" dirty="0">
                <a:latin typeface="+mj-lt"/>
                <a:ea typeface="+mj-ea"/>
                <a:cs typeface="+mj-cs"/>
              </a:rPr>
              <a:t>Change Management</a:t>
            </a:r>
            <a:br>
              <a:rPr lang="en-US" sz="5400" dirty="0">
                <a:latin typeface="+mj-lt"/>
                <a:ea typeface="+mj-ea"/>
                <a:cs typeface="+mj-cs"/>
              </a:rPr>
            </a:br>
            <a:r>
              <a:rPr lang="en-US" sz="5400" dirty="0"/>
              <a:t>Toolkit</a:t>
            </a:r>
            <a:endParaRPr lang="en-US" sz="5400" dirty="0">
              <a:latin typeface="+mj-lt"/>
              <a:ea typeface="+mj-ea"/>
              <a:cs typeface="+mj-cs"/>
            </a:endParaRPr>
          </a:p>
        </p:txBody>
      </p:sp>
      <p:sp>
        <p:nvSpPr>
          <p:cNvPr id="40" name="sketchy line">
            <a:extLst>
              <a:ext uri="{FF2B5EF4-FFF2-40B4-BE49-F238E27FC236}">
                <a16:creationId xmlns:a16="http://schemas.microsoft.com/office/drawing/2014/main" id="{F49775AF-8896-43EE-92C6-83497D6DC5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90338" y="4409267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A880877E-33BB-E2BE-969F-61A25C98D76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"/>
          <a:stretch/>
        </p:blipFill>
        <p:spPr>
          <a:xfrm>
            <a:off x="5311702" y="10"/>
            <a:ext cx="6878775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EDC45BB-E363-21AD-DC7E-D1BEBC889CC4}"/>
              </a:ext>
            </a:extLst>
          </p:cNvPr>
          <p:cNvSpPr txBox="1"/>
          <p:nvPr/>
        </p:nvSpPr>
        <p:spPr>
          <a:xfrm>
            <a:off x="420174" y="5347454"/>
            <a:ext cx="60949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4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gust 22, 2023</a:t>
            </a:r>
          </a:p>
        </p:txBody>
      </p:sp>
    </p:spTree>
    <p:extLst>
      <p:ext uri="{BB962C8B-B14F-4D97-AF65-F5344CB8AC3E}">
        <p14:creationId xmlns:p14="http://schemas.microsoft.com/office/powerpoint/2010/main" val="99373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729A9F29-D9CE-1923-FDF4-A87D91AEB8C7}"/>
              </a:ext>
            </a:extLst>
          </p:cNvPr>
          <p:cNvSpPr txBox="1">
            <a:spLocks/>
          </p:cNvSpPr>
          <p:nvPr/>
        </p:nvSpPr>
        <p:spPr>
          <a:xfrm>
            <a:off x="502919" y="246888"/>
            <a:ext cx="11198597" cy="923544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rPr>
              <a:t>Change Management Toolkit:</a:t>
            </a:r>
          </a:p>
        </p:txBody>
      </p: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954A8F52-1B9D-8D3B-F9FF-BD6FD72508FD}"/>
              </a:ext>
            </a:extLst>
          </p:cNvPr>
          <p:cNvCxnSpPr/>
          <p:nvPr/>
        </p:nvCxnSpPr>
        <p:spPr bwMode="auto">
          <a:xfrm>
            <a:off x="1168936" y="3444023"/>
            <a:ext cx="8203665" cy="0"/>
          </a:xfrm>
          <a:prstGeom prst="line">
            <a:avLst/>
          </a:prstGeom>
          <a:solidFill>
            <a:srgbClr val="0085D5"/>
          </a:solidFill>
          <a:ln w="9525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29" name="TextBox 228">
            <a:extLst>
              <a:ext uri="{FF2B5EF4-FFF2-40B4-BE49-F238E27FC236}">
                <a16:creationId xmlns:a16="http://schemas.microsoft.com/office/drawing/2014/main" id="{631B7B57-080D-6A00-88A3-4574A0797DD8}"/>
              </a:ext>
            </a:extLst>
          </p:cNvPr>
          <p:cNvSpPr txBox="1"/>
          <p:nvPr/>
        </p:nvSpPr>
        <p:spPr>
          <a:xfrm>
            <a:off x="4108654" y="3618550"/>
            <a:ext cx="6880034" cy="169277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</a:rPr>
              <a:t>Individual change is accomplished by modeling behavior, excellent communications, and reinforcement of desired behavior, helping the individual understand: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</a:rPr>
              <a:t>Why change is coming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</a:rPr>
              <a:t>What’s in it for them and their organization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</a:rPr>
              <a:t>How their job will change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</a:rPr>
              <a:t>How they’ll get the skills and support they need to succeed following the change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B7BE5E61-6F8F-2DBA-22EF-7B65E411C955}"/>
              </a:ext>
            </a:extLst>
          </p:cNvPr>
          <p:cNvSpPr txBox="1"/>
          <p:nvPr/>
        </p:nvSpPr>
        <p:spPr>
          <a:xfrm>
            <a:off x="4108654" y="1631082"/>
            <a:ext cx="6880034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</a:rPr>
              <a:t>Organizational change is accomplished through executing the workstreams to pilot and implement the future state of Data, leading to: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</a:rPr>
              <a:t>Identifying the organizational challenge and solution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</a:rPr>
              <a:t>Finding and training the people needed to make the future state work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</a:rPr>
              <a:t>Developing required policies and procedure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</a:rPr>
              <a:t>Modifying or acquiring needed tools and enablers</a:t>
            </a:r>
          </a:p>
        </p:txBody>
      </p:sp>
      <p:sp>
        <p:nvSpPr>
          <p:cNvPr id="232" name="Rectangle 29">
            <a:extLst>
              <a:ext uri="{FF2B5EF4-FFF2-40B4-BE49-F238E27FC236}">
                <a16:creationId xmlns:a16="http://schemas.microsoft.com/office/drawing/2014/main" id="{8B88E935-4301-87BF-D052-C194405F5981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422910" y="869574"/>
            <a:ext cx="10980813" cy="4255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45720" tIns="27432" rIns="45720" bIns="27432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</a:rPr>
              <a:t>Organizational and individual change management are each executed using different methods</a:t>
            </a:r>
          </a:p>
        </p:txBody>
      </p:sp>
      <p:sp>
        <p:nvSpPr>
          <p:cNvPr id="233" name="Rectangle 42">
            <a:extLst>
              <a:ext uri="{FF2B5EF4-FFF2-40B4-BE49-F238E27FC236}">
                <a16:creationId xmlns:a16="http://schemas.microsoft.com/office/drawing/2014/main" id="{FF133E5C-14F3-1FCA-2C94-F98E42FAD7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4308" y="1346160"/>
            <a:ext cx="1242328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</a:rPr>
              <a:t>Organizational</a:t>
            </a:r>
          </a:p>
        </p:txBody>
      </p:sp>
      <p:sp>
        <p:nvSpPr>
          <p:cNvPr id="234" name="Rectangle 43">
            <a:extLst>
              <a:ext uri="{FF2B5EF4-FFF2-40B4-BE49-F238E27FC236}">
                <a16:creationId xmlns:a16="http://schemas.microsoft.com/office/drawing/2014/main" id="{C38404FE-573D-FD88-BA61-622FAB89C1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8248" y="3520187"/>
            <a:ext cx="833562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</a:rPr>
              <a:t>Individual</a:t>
            </a:r>
          </a:p>
        </p:txBody>
      </p:sp>
      <p:pic>
        <p:nvPicPr>
          <p:cNvPr id="240" name="Picture 239" descr="Coworkers discussing at conference table">
            <a:extLst>
              <a:ext uri="{FF2B5EF4-FFF2-40B4-BE49-F238E27FC236}">
                <a16:creationId xmlns:a16="http://schemas.microsoft.com/office/drawing/2014/main" id="{602BA392-7A39-8A59-6469-A7EBC65C0B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650" y="1573451"/>
            <a:ext cx="2692400" cy="1745853"/>
          </a:xfrm>
          <a:prstGeom prst="rect">
            <a:avLst/>
          </a:prstGeom>
        </p:spPr>
      </p:pic>
      <p:pic>
        <p:nvPicPr>
          <p:cNvPr id="242" name="Picture 241" descr="Person stepping in stairs">
            <a:extLst>
              <a:ext uri="{FF2B5EF4-FFF2-40B4-BE49-F238E27FC236}">
                <a16:creationId xmlns:a16="http://schemas.microsoft.com/office/drawing/2014/main" id="{5E090FFD-5D91-E72A-9E32-6D14B639EB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2650" y="3798524"/>
            <a:ext cx="2692400" cy="1764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0091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ySniXFyApYQmGFOHk.P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AGILENT 16-9">
  <a:themeElements>
    <a:clrScheme name="AGILENT COLORS">
      <a:dk1>
        <a:srgbClr val="53565A"/>
      </a:dk1>
      <a:lt1>
        <a:srgbClr val="FFFFFF"/>
      </a:lt1>
      <a:dk2>
        <a:srgbClr val="000000"/>
      </a:dk2>
      <a:lt2>
        <a:srgbClr val="FFFFFF"/>
      </a:lt2>
      <a:accent1>
        <a:srgbClr val="0085D5"/>
      </a:accent1>
      <a:accent2>
        <a:srgbClr val="F2A900"/>
      </a:accent2>
      <a:accent3>
        <a:srgbClr val="84BD00"/>
      </a:accent3>
      <a:accent4>
        <a:srgbClr val="00A9E0"/>
      </a:accent4>
      <a:accent5>
        <a:srgbClr val="00426A"/>
      </a:accent5>
      <a:accent6>
        <a:srgbClr val="D6001C"/>
      </a:accent6>
      <a:hlink>
        <a:srgbClr val="0085D5"/>
      </a:hlink>
      <a:folHlink>
        <a:srgbClr val="80276C"/>
      </a:folHlink>
    </a:clrScheme>
    <a:fontScheme name="AGILENT PPT &amp; OUTLO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gilent 16-9" id="{3CB74861-FB5A-44F0-BCDF-2AC764DA9061}" vid="{67474137-489F-42F2-AD27-BD96EF6F8569}"/>
    </a:ext>
  </a:extLst>
</a:theme>
</file>

<file path=ppt/theme/theme3.xml><?xml version="1.0" encoding="utf-8"?>
<a:theme xmlns:a="http://schemas.openxmlformats.org/drawingml/2006/main" name="1_Office Theme">
  <a:themeElements>
    <a:clrScheme name="HireRigh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1010"/>
      </a:accent1>
      <a:accent2>
        <a:srgbClr val="757575"/>
      </a:accent2>
      <a:accent3>
        <a:srgbClr val="1F74DB"/>
      </a:accent3>
      <a:accent4>
        <a:srgbClr val="C9D716"/>
      </a:accent4>
      <a:accent5>
        <a:srgbClr val="25BAA7"/>
      </a:accent5>
      <a:accent6>
        <a:srgbClr val="FFC658"/>
      </a:accent6>
      <a:hlink>
        <a:srgbClr val="214069"/>
      </a:hlink>
      <a:folHlink>
        <a:srgbClr val="EA1010"/>
      </a:folHlink>
    </a:clrScheme>
    <a:fontScheme name="HireRigh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84299</TotalTime>
  <Words>129</Words>
  <Application>Microsoft Office PowerPoint</Application>
  <PresentationFormat>Widescreen</PresentationFormat>
  <Paragraphs>16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5" baseType="lpstr">
      <vt:lpstr>Arial</vt:lpstr>
      <vt:lpstr>Calibri</vt:lpstr>
      <vt:lpstr>Calibri Light</vt:lpstr>
      <vt:lpstr>Lucida Grande</vt:lpstr>
      <vt:lpstr>Roboto</vt:lpstr>
      <vt:lpstr>Roboto Light</vt:lpstr>
      <vt:lpstr>System Font Regular</vt:lpstr>
      <vt:lpstr>Verdana</vt:lpstr>
      <vt:lpstr>Wingdings</vt:lpstr>
      <vt:lpstr>Custom Design</vt:lpstr>
      <vt:lpstr>1_AGILENT 16-9</vt:lpstr>
      <vt:lpstr>1_Office Theme</vt:lpstr>
      <vt:lpstr>think-cell Slide</vt:lpstr>
      <vt:lpstr>Change Management Toolkit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Patrick Jacolenne</dc:creator>
  <cp:keywords/>
  <dc:description/>
  <cp:lastModifiedBy>Patrick Jacolenne</cp:lastModifiedBy>
  <cp:revision>1546</cp:revision>
  <cp:lastPrinted>2022-01-25T19:11:12Z</cp:lastPrinted>
  <dcterms:created xsi:type="dcterms:W3CDTF">2013-04-15T13:08:21Z</dcterms:created>
  <dcterms:modified xsi:type="dcterms:W3CDTF">2023-08-22T06:42:31Z</dcterms:modified>
  <cp:category/>
</cp:coreProperties>
</file>